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2" r:id="rId1"/>
  </p:sldMasterIdLst>
  <p:sldIdLst>
    <p:sldId id="258" r:id="rId2"/>
    <p:sldId id="257" r:id="rId3"/>
    <p:sldId id="259" r:id="rId4"/>
    <p:sldId id="268" r:id="rId5"/>
    <p:sldId id="260" r:id="rId6"/>
    <p:sldId id="262" r:id="rId7"/>
    <p:sldId id="263" r:id="rId8"/>
    <p:sldId id="265" r:id="rId9"/>
    <p:sldId id="261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974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2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1872" y="4800600"/>
            <a:ext cx="9418320" cy="1691640"/>
          </a:xfrm>
        </p:spPr>
        <p:txBody>
          <a:bodyPr>
            <a:normAutofit/>
          </a:bodyPr>
          <a:lstStyle>
            <a:lvl1pPr marL="0" indent="0" algn="l">
              <a:buNone/>
              <a:defRPr sz="220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7300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16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48700" y="381000"/>
            <a:ext cx="247650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381000"/>
            <a:ext cx="7734300" cy="5897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177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81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7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4800600"/>
            <a:ext cx="9418320" cy="1691640"/>
          </a:xfr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413606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1872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6480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343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1872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26480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26480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895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3197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846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200400" cy="1600197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267" y="685800"/>
            <a:ext cx="6079066" cy="5486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99734"/>
            <a:ext cx="3200400" cy="3810001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800"/>
              </a:spcBef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10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05400"/>
            <a:ext cx="11292840" cy="1752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257800"/>
            <a:ext cx="9982200" cy="914400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1292840" cy="5128923"/>
          </a:xfrm>
          <a:solidFill>
            <a:schemeClr val="accent1"/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6108589"/>
            <a:ext cx="9982200" cy="5970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3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72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29284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828800"/>
            <a:ext cx="859536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797542" y="998537"/>
            <a:ext cx="190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fld id="{1795DA6E-AE19-4B18-B1A4-591ED8C04C9D}" type="datetimeFigureOut">
              <a:rPr lang="en-US" smtClean="0"/>
              <a:t>2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959341" y="4046537"/>
            <a:ext cx="358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2840" y="6172200"/>
            <a:ext cx="914400" cy="593725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59B7C7CC-CE15-4E60-96D1-4D0F2706D050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1A247A-C810-4ADE-8BB3-CAB527962A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9347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99BB70E-AA9A-4FC0-BC66-A944072E0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988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5000"/>
        </a:lnSpc>
        <a:spcBef>
          <a:spcPts val="1400"/>
        </a:spcBef>
        <a:spcAft>
          <a:spcPts val="200"/>
        </a:spcAft>
        <a:buClr>
          <a:schemeClr val="accent1"/>
        </a:buClr>
        <a:buSzPct val="80000"/>
        <a:buFont typeface="Arial" pitchFamily="34" charset="0"/>
        <a:buChar char="•"/>
        <a:defRPr sz="18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1AA8204-5253-42E3-8FAA-FED192F2F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80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1AA8204-5253-42E3-8FAA-FED192F2F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The peak of the mountains covered in snow">
            <a:extLst>
              <a:ext uri="{FF2B5EF4-FFF2-40B4-BE49-F238E27FC236}">
                <a16:creationId xmlns:a16="http://schemas.microsoft.com/office/drawing/2014/main" id="{EAE5FC90-653D-4917-9909-4BED05FCC72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5094"/>
          <a:stretch/>
        </p:blipFill>
        <p:spPr>
          <a:xfrm>
            <a:off x="20" y="10"/>
            <a:ext cx="12191980" cy="6095990"/>
          </a:xfrm>
          <a:custGeom>
            <a:avLst/>
            <a:gdLst/>
            <a:ahLst/>
            <a:cxnLst/>
            <a:rect l="l" t="t" r="r" b="b"/>
            <a:pathLst>
              <a:path w="12192000" h="6096000">
                <a:moveTo>
                  <a:pt x="7230262" y="5906862"/>
                </a:moveTo>
                <a:lnTo>
                  <a:pt x="7197115" y="5913338"/>
                </a:lnTo>
                <a:lnTo>
                  <a:pt x="7214545" y="5911744"/>
                </a:lnTo>
                <a:cubicBezTo>
                  <a:pt x="7220308" y="5910958"/>
                  <a:pt x="7225785" y="5909624"/>
                  <a:pt x="7230262" y="5906862"/>
                </a:cubicBezTo>
                <a:close/>
                <a:moveTo>
                  <a:pt x="7009120" y="5850263"/>
                </a:moveTo>
                <a:lnTo>
                  <a:pt x="7021563" y="5861355"/>
                </a:lnTo>
                <a:lnTo>
                  <a:pt x="7021563" y="5861354"/>
                </a:lnTo>
                <a:close/>
                <a:moveTo>
                  <a:pt x="7768443" y="5742074"/>
                </a:moveTo>
                <a:lnTo>
                  <a:pt x="7768443" y="5742075"/>
                </a:lnTo>
                <a:lnTo>
                  <a:pt x="7792447" y="5764553"/>
                </a:lnTo>
                <a:cubicBezTo>
                  <a:pt x="7785969" y="5758457"/>
                  <a:pt x="7779301" y="5752361"/>
                  <a:pt x="7768443" y="5742074"/>
                </a:cubicBezTo>
                <a:close/>
                <a:moveTo>
                  <a:pt x="4038748" y="5739955"/>
                </a:moveTo>
                <a:lnTo>
                  <a:pt x="4030517" y="5751599"/>
                </a:lnTo>
                <a:cubicBezTo>
                  <a:pt x="4026230" y="5759505"/>
                  <a:pt x="4021242" y="5765745"/>
                  <a:pt x="4015609" y="5770450"/>
                </a:cubicBezTo>
                <a:lnTo>
                  <a:pt x="3996845" y="5780104"/>
                </a:lnTo>
                <a:cubicBezTo>
                  <a:pt x="4010562" y="5776555"/>
                  <a:pt x="4021944" y="5767411"/>
                  <a:pt x="4030518" y="5751599"/>
                </a:cubicBezTo>
                <a:close/>
                <a:moveTo>
                  <a:pt x="6245343" y="5736549"/>
                </a:moveTo>
                <a:lnTo>
                  <a:pt x="6274406" y="5743345"/>
                </a:lnTo>
                <a:lnTo>
                  <a:pt x="6291247" y="5749662"/>
                </a:lnTo>
                <a:lnTo>
                  <a:pt x="6291385" y="5749714"/>
                </a:lnTo>
                <a:lnTo>
                  <a:pt x="6306284" y="5755552"/>
                </a:lnTo>
                <a:lnTo>
                  <a:pt x="6308075" y="5755968"/>
                </a:lnTo>
                <a:lnTo>
                  <a:pt x="6313855" y="5758133"/>
                </a:lnTo>
                <a:cubicBezTo>
                  <a:pt x="6321454" y="5760521"/>
                  <a:pt x="6329151" y="5762258"/>
                  <a:pt x="6337048" y="5762696"/>
                </a:cubicBezTo>
                <a:lnTo>
                  <a:pt x="6308075" y="5755968"/>
                </a:lnTo>
                <a:lnTo>
                  <a:pt x="6291385" y="5749714"/>
                </a:lnTo>
                <a:lnTo>
                  <a:pt x="6276197" y="5743764"/>
                </a:lnTo>
                <a:lnTo>
                  <a:pt x="6274406" y="5743345"/>
                </a:lnTo>
                <a:lnTo>
                  <a:pt x="6268613" y="5741171"/>
                </a:lnTo>
                <a:cubicBezTo>
                  <a:pt x="6260996" y="5738770"/>
                  <a:pt x="6253273" y="5737013"/>
                  <a:pt x="6245343" y="5736549"/>
                </a:cubicBezTo>
                <a:close/>
                <a:moveTo>
                  <a:pt x="6558837" y="5706717"/>
                </a:moveTo>
                <a:cubicBezTo>
                  <a:pt x="6548970" y="5706068"/>
                  <a:pt x="6539355" y="5706473"/>
                  <a:pt x="6529984" y="5708163"/>
                </a:cubicBezTo>
                <a:lnTo>
                  <a:pt x="6589207" y="5711593"/>
                </a:lnTo>
                <a:cubicBezTo>
                  <a:pt x="6578825" y="5709068"/>
                  <a:pt x="6568705" y="5707366"/>
                  <a:pt x="6558837" y="5706717"/>
                </a:cubicBezTo>
                <a:close/>
                <a:moveTo>
                  <a:pt x="4834454" y="5646059"/>
                </a:moveTo>
                <a:cubicBezTo>
                  <a:pt x="4849504" y="5662538"/>
                  <a:pt x="4866316" y="5668776"/>
                  <a:pt x="4883986" y="5670301"/>
                </a:cubicBezTo>
                <a:lnTo>
                  <a:pt x="4858238" y="5663787"/>
                </a:lnTo>
                <a:cubicBezTo>
                  <a:pt x="4849945" y="5659978"/>
                  <a:pt x="4841980" y="5654298"/>
                  <a:pt x="4834454" y="5646059"/>
                </a:cubicBezTo>
                <a:close/>
                <a:moveTo>
                  <a:pt x="5056443" y="5643725"/>
                </a:moveTo>
                <a:lnTo>
                  <a:pt x="5072588" y="5644505"/>
                </a:lnTo>
                <a:cubicBezTo>
                  <a:pt x="5078053" y="5645963"/>
                  <a:pt x="5083590" y="5648726"/>
                  <a:pt x="5089162" y="5653107"/>
                </a:cubicBezTo>
                <a:cubicBezTo>
                  <a:pt x="5078019" y="5644344"/>
                  <a:pt x="5067015" y="5642058"/>
                  <a:pt x="5056443" y="5643725"/>
                </a:cubicBezTo>
                <a:close/>
                <a:moveTo>
                  <a:pt x="739852" y="5343843"/>
                </a:moveTo>
                <a:cubicBezTo>
                  <a:pt x="733899" y="5350392"/>
                  <a:pt x="728660" y="5358013"/>
                  <a:pt x="724278" y="5365062"/>
                </a:cubicBezTo>
                <a:cubicBezTo>
                  <a:pt x="719849" y="5372206"/>
                  <a:pt x="714527" y="5377552"/>
                  <a:pt x="708621" y="5381222"/>
                </a:cubicBezTo>
                <a:lnTo>
                  <a:pt x="691439" y="5386697"/>
                </a:lnTo>
                <a:lnTo>
                  <a:pt x="708622" y="5381222"/>
                </a:lnTo>
                <a:cubicBezTo>
                  <a:pt x="714527" y="5377552"/>
                  <a:pt x="719849" y="5372206"/>
                  <a:pt x="724279" y="5365062"/>
                </a:cubicBezTo>
                <a:cubicBezTo>
                  <a:pt x="728660" y="5358013"/>
                  <a:pt x="733899" y="5350392"/>
                  <a:pt x="739852" y="5343843"/>
                </a:cubicBezTo>
                <a:close/>
                <a:moveTo>
                  <a:pt x="8934151" y="5275333"/>
                </a:moveTo>
                <a:cubicBezTo>
                  <a:pt x="8940248" y="5280573"/>
                  <a:pt x="8947058" y="5285906"/>
                  <a:pt x="8954249" y="5290264"/>
                </a:cubicBezTo>
                <a:lnTo>
                  <a:pt x="8962389" y="5293563"/>
                </a:lnTo>
                <a:lnTo>
                  <a:pt x="8954250" y="5290264"/>
                </a:lnTo>
                <a:cubicBezTo>
                  <a:pt x="8947058" y="5285906"/>
                  <a:pt x="8940248" y="5280573"/>
                  <a:pt x="8934151" y="5275333"/>
                </a:cubicBezTo>
                <a:close/>
                <a:moveTo>
                  <a:pt x="2314816" y="5273737"/>
                </a:moveTo>
                <a:cubicBezTo>
                  <a:pt x="2309720" y="5274714"/>
                  <a:pt x="2304339" y="5276762"/>
                  <a:pt x="2300909" y="5279143"/>
                </a:cubicBezTo>
                <a:cubicBezTo>
                  <a:pt x="2267856" y="5302385"/>
                  <a:pt x="2242281" y="5314291"/>
                  <a:pt x="2216515" y="5314887"/>
                </a:cubicBezTo>
                <a:cubicBezTo>
                  <a:pt x="2242281" y="5314291"/>
                  <a:pt x="2267856" y="5302385"/>
                  <a:pt x="2300910" y="5279143"/>
                </a:cubicBezTo>
                <a:close/>
                <a:moveTo>
                  <a:pt x="1916629" y="5252000"/>
                </a:moveTo>
                <a:lnTo>
                  <a:pt x="1907132" y="5255330"/>
                </a:lnTo>
                <a:lnTo>
                  <a:pt x="1866619" y="5265015"/>
                </a:lnTo>
                <a:lnTo>
                  <a:pt x="1907133" y="5255330"/>
                </a:lnTo>
                <a:close/>
                <a:moveTo>
                  <a:pt x="2058204" y="5241232"/>
                </a:moveTo>
                <a:cubicBezTo>
                  <a:pt x="2076636" y="5242946"/>
                  <a:pt x="2095174" y="5243803"/>
                  <a:pt x="2108194" y="5255939"/>
                </a:cubicBezTo>
                <a:cubicBezTo>
                  <a:pt x="2095175" y="5243803"/>
                  <a:pt x="2076636" y="5242946"/>
                  <a:pt x="2058204" y="5241232"/>
                </a:cubicBezTo>
                <a:close/>
                <a:moveTo>
                  <a:pt x="0" y="0"/>
                </a:moveTo>
                <a:lnTo>
                  <a:pt x="12191456" y="0"/>
                </a:lnTo>
                <a:lnTo>
                  <a:pt x="12191456" y="873938"/>
                </a:lnTo>
                <a:lnTo>
                  <a:pt x="12192000" y="873938"/>
                </a:lnTo>
                <a:lnTo>
                  <a:pt x="12192000" y="3249107"/>
                </a:lnTo>
                <a:cubicBezTo>
                  <a:pt x="12192000" y="3264730"/>
                  <a:pt x="12192000" y="3274255"/>
                  <a:pt x="12192000" y="3283970"/>
                </a:cubicBezTo>
                <a:lnTo>
                  <a:pt x="12192000" y="3681702"/>
                </a:lnTo>
                <a:lnTo>
                  <a:pt x="12160947" y="3710323"/>
                </a:lnTo>
                <a:cubicBezTo>
                  <a:pt x="12118083" y="3731849"/>
                  <a:pt x="12072360" y="3751282"/>
                  <a:pt x="12026448" y="3770523"/>
                </a:cubicBezTo>
                <a:cubicBezTo>
                  <a:pt x="12013114" y="3776049"/>
                  <a:pt x="11998443" y="3779097"/>
                  <a:pt x="11986443" y="3786526"/>
                </a:cubicBezTo>
                <a:cubicBezTo>
                  <a:pt x="11931195" y="3820436"/>
                  <a:pt x="11877664" y="3857014"/>
                  <a:pt x="11821656" y="3889591"/>
                </a:cubicBezTo>
                <a:cubicBezTo>
                  <a:pt x="11763931" y="3923310"/>
                  <a:pt x="11712304" y="3963126"/>
                  <a:pt x="11672489" y="4017039"/>
                </a:cubicBezTo>
                <a:cubicBezTo>
                  <a:pt x="11635529" y="4067143"/>
                  <a:pt x="11599714" y="4118007"/>
                  <a:pt x="11562947" y="4168300"/>
                </a:cubicBezTo>
                <a:cubicBezTo>
                  <a:pt x="11553613" y="4181065"/>
                  <a:pt x="11545039" y="4196115"/>
                  <a:pt x="11532275" y="4204307"/>
                </a:cubicBezTo>
                <a:cubicBezTo>
                  <a:pt x="11505795" y="4221452"/>
                  <a:pt x="11476838" y="4235359"/>
                  <a:pt x="11448453" y="4249457"/>
                </a:cubicBezTo>
                <a:cubicBezTo>
                  <a:pt x="11424069" y="4261459"/>
                  <a:pt x="11398160" y="4270411"/>
                  <a:pt x="11374346" y="4283366"/>
                </a:cubicBezTo>
                <a:cubicBezTo>
                  <a:pt x="11355296" y="4293655"/>
                  <a:pt x="11338339" y="4307943"/>
                  <a:pt x="11320623" y="4320897"/>
                </a:cubicBezTo>
                <a:cubicBezTo>
                  <a:pt x="11305192" y="4332136"/>
                  <a:pt x="11288238" y="4341852"/>
                  <a:pt x="11275283" y="4355378"/>
                </a:cubicBezTo>
                <a:cubicBezTo>
                  <a:pt x="11243658" y="4388145"/>
                  <a:pt x="11211843" y="4420340"/>
                  <a:pt x="11172600" y="4444536"/>
                </a:cubicBezTo>
                <a:cubicBezTo>
                  <a:pt x="11133927" y="4468538"/>
                  <a:pt x="11097350" y="4495401"/>
                  <a:pt x="11058869" y="4519786"/>
                </a:cubicBezTo>
                <a:cubicBezTo>
                  <a:pt x="11021146" y="4543599"/>
                  <a:pt x="10987046" y="4569697"/>
                  <a:pt x="10967423" y="4611991"/>
                </a:cubicBezTo>
                <a:cubicBezTo>
                  <a:pt x="10958661" y="4630659"/>
                  <a:pt x="10946279" y="4651044"/>
                  <a:pt x="10929704" y="4661903"/>
                </a:cubicBezTo>
                <a:cubicBezTo>
                  <a:pt x="10906081" y="4677334"/>
                  <a:pt x="10876171" y="4682859"/>
                  <a:pt x="10850453" y="4696003"/>
                </a:cubicBezTo>
                <a:cubicBezTo>
                  <a:pt x="10820162" y="4711434"/>
                  <a:pt x="10785111" y="4724770"/>
                  <a:pt x="10764534" y="4749345"/>
                </a:cubicBezTo>
                <a:cubicBezTo>
                  <a:pt x="10746246" y="4771255"/>
                  <a:pt x="10727767" y="4788399"/>
                  <a:pt x="10703573" y="4802305"/>
                </a:cubicBezTo>
                <a:cubicBezTo>
                  <a:pt x="10686617" y="4812022"/>
                  <a:pt x="10674046" y="4829738"/>
                  <a:pt x="10656519" y="4837740"/>
                </a:cubicBezTo>
                <a:cubicBezTo>
                  <a:pt x="10633467" y="4848409"/>
                  <a:pt x="10610225" y="4856791"/>
                  <a:pt x="10590031" y="4873366"/>
                </a:cubicBezTo>
                <a:cubicBezTo>
                  <a:pt x="10569075" y="4890510"/>
                  <a:pt x="10545263" y="4904036"/>
                  <a:pt x="10523354" y="4920039"/>
                </a:cubicBezTo>
                <a:cubicBezTo>
                  <a:pt x="10511734" y="4928611"/>
                  <a:pt x="10502208" y="4939851"/>
                  <a:pt x="10490969" y="4948806"/>
                </a:cubicBezTo>
                <a:cubicBezTo>
                  <a:pt x="10470394" y="4965188"/>
                  <a:pt x="10449438" y="4981191"/>
                  <a:pt x="10428291" y="4996622"/>
                </a:cubicBezTo>
                <a:cubicBezTo>
                  <a:pt x="10407146" y="5012055"/>
                  <a:pt x="10386952" y="5029961"/>
                  <a:pt x="10363709" y="5041201"/>
                </a:cubicBezTo>
                <a:cubicBezTo>
                  <a:pt x="10324086" y="5060251"/>
                  <a:pt x="10280840" y="5071682"/>
                  <a:pt x="10242357" y="5092257"/>
                </a:cubicBezTo>
                <a:cubicBezTo>
                  <a:pt x="10203304" y="5113211"/>
                  <a:pt x="10166536" y="5139503"/>
                  <a:pt x="10131863" y="5167315"/>
                </a:cubicBezTo>
                <a:cubicBezTo>
                  <a:pt x="10104430" y="5189224"/>
                  <a:pt x="10078713" y="5210943"/>
                  <a:pt x="10044230" y="5222182"/>
                </a:cubicBezTo>
                <a:cubicBezTo>
                  <a:pt x="10024990" y="5228470"/>
                  <a:pt x="10004797" y="5242186"/>
                  <a:pt x="9993175" y="5258189"/>
                </a:cubicBezTo>
                <a:cubicBezTo>
                  <a:pt x="9968027" y="5293049"/>
                  <a:pt x="9935832" y="5317626"/>
                  <a:pt x="9899446" y="5338582"/>
                </a:cubicBezTo>
                <a:cubicBezTo>
                  <a:pt x="9850865" y="5366776"/>
                  <a:pt x="9802858" y="5395543"/>
                  <a:pt x="9754088" y="5423166"/>
                </a:cubicBezTo>
                <a:cubicBezTo>
                  <a:pt x="9725323" y="5439551"/>
                  <a:pt x="9696749" y="5456885"/>
                  <a:pt x="9666265" y="5468888"/>
                </a:cubicBezTo>
                <a:cubicBezTo>
                  <a:pt x="9603971" y="5493655"/>
                  <a:pt x="9540152" y="5514799"/>
                  <a:pt x="9477283" y="5537851"/>
                </a:cubicBezTo>
                <a:cubicBezTo>
                  <a:pt x="9456709" y="5545280"/>
                  <a:pt x="9437278" y="5555949"/>
                  <a:pt x="9416321" y="5562426"/>
                </a:cubicBezTo>
                <a:cubicBezTo>
                  <a:pt x="9393650" y="5569475"/>
                  <a:pt x="9369267" y="5571571"/>
                  <a:pt x="9346597" y="5578619"/>
                </a:cubicBezTo>
                <a:cubicBezTo>
                  <a:pt x="9308875" y="5590240"/>
                  <a:pt x="9272298" y="5605101"/>
                  <a:pt x="9234579" y="5616911"/>
                </a:cubicBezTo>
                <a:cubicBezTo>
                  <a:pt x="9161805" y="5639582"/>
                  <a:pt x="9088840" y="5661299"/>
                  <a:pt x="9015878" y="5682826"/>
                </a:cubicBezTo>
                <a:cubicBezTo>
                  <a:pt x="9000257" y="5687399"/>
                  <a:pt x="8983301" y="5687970"/>
                  <a:pt x="8967871" y="5692923"/>
                </a:cubicBezTo>
                <a:cubicBezTo>
                  <a:pt x="8926911" y="5706259"/>
                  <a:pt x="8886142" y="5720736"/>
                  <a:pt x="8845565" y="5735407"/>
                </a:cubicBezTo>
                <a:cubicBezTo>
                  <a:pt x="8820990" y="5744361"/>
                  <a:pt x="8796985" y="5755409"/>
                  <a:pt x="8772219" y="5763982"/>
                </a:cubicBezTo>
                <a:cubicBezTo>
                  <a:pt x="8752407" y="5770840"/>
                  <a:pt x="8732023" y="5776174"/>
                  <a:pt x="8711448" y="5780366"/>
                </a:cubicBezTo>
                <a:cubicBezTo>
                  <a:pt x="8693731" y="5783986"/>
                  <a:pt x="8675253" y="5783603"/>
                  <a:pt x="8657726" y="5787986"/>
                </a:cubicBezTo>
                <a:cubicBezTo>
                  <a:pt x="8610288" y="5799797"/>
                  <a:pt x="8563425" y="5813133"/>
                  <a:pt x="8516369" y="5825705"/>
                </a:cubicBezTo>
                <a:cubicBezTo>
                  <a:pt x="8497511" y="5830659"/>
                  <a:pt x="8478269" y="5834280"/>
                  <a:pt x="8459979" y="5840566"/>
                </a:cubicBezTo>
                <a:cubicBezTo>
                  <a:pt x="8411019" y="5857141"/>
                  <a:pt x="8362822" y="5875999"/>
                  <a:pt x="8313671" y="5891622"/>
                </a:cubicBezTo>
                <a:cubicBezTo>
                  <a:pt x="8272903" y="5904576"/>
                  <a:pt x="8230992" y="5913910"/>
                  <a:pt x="8189651" y="5925341"/>
                </a:cubicBezTo>
                <a:cubicBezTo>
                  <a:pt x="8172124" y="5930295"/>
                  <a:pt x="8155359" y="5937343"/>
                  <a:pt x="8137835" y="5941534"/>
                </a:cubicBezTo>
                <a:cubicBezTo>
                  <a:pt x="8098590" y="5951059"/>
                  <a:pt x="8058774" y="5959059"/>
                  <a:pt x="8019339" y="5968586"/>
                </a:cubicBezTo>
                <a:cubicBezTo>
                  <a:pt x="7996859" y="5974110"/>
                  <a:pt x="7975142" y="5984017"/>
                  <a:pt x="7952280" y="5987637"/>
                </a:cubicBezTo>
                <a:cubicBezTo>
                  <a:pt x="7897987" y="5996209"/>
                  <a:pt x="7843311" y="6002305"/>
                  <a:pt x="7788636" y="6009163"/>
                </a:cubicBezTo>
                <a:cubicBezTo>
                  <a:pt x="7732247" y="6016211"/>
                  <a:pt x="7676047" y="6023642"/>
                  <a:pt x="7619655" y="6029928"/>
                </a:cubicBezTo>
                <a:cubicBezTo>
                  <a:pt x="7588795" y="6033168"/>
                  <a:pt x="7557742" y="6033738"/>
                  <a:pt x="7526880" y="6036786"/>
                </a:cubicBezTo>
                <a:cubicBezTo>
                  <a:pt x="7499828" y="6039455"/>
                  <a:pt x="7472967" y="6044407"/>
                  <a:pt x="7445916" y="6047647"/>
                </a:cubicBezTo>
                <a:cubicBezTo>
                  <a:pt x="7422483" y="6050313"/>
                  <a:pt x="7398860" y="6051837"/>
                  <a:pt x="7375428" y="6054505"/>
                </a:cubicBezTo>
                <a:cubicBezTo>
                  <a:pt x="7337899" y="6058885"/>
                  <a:pt x="7300559" y="6063839"/>
                  <a:pt x="7263220" y="6068411"/>
                </a:cubicBezTo>
                <a:cubicBezTo>
                  <a:pt x="7247599" y="6070126"/>
                  <a:pt x="7231214" y="6074888"/>
                  <a:pt x="7216547" y="6072032"/>
                </a:cubicBezTo>
                <a:cubicBezTo>
                  <a:pt x="7179587" y="6064791"/>
                  <a:pt x="7143199" y="6066887"/>
                  <a:pt x="7106432" y="6071840"/>
                </a:cubicBezTo>
                <a:cubicBezTo>
                  <a:pt x="7093860" y="6073555"/>
                  <a:pt x="7080334" y="6073174"/>
                  <a:pt x="7068141" y="6069936"/>
                </a:cubicBezTo>
                <a:cubicBezTo>
                  <a:pt x="7043184" y="6063457"/>
                  <a:pt x="7018991" y="6054313"/>
                  <a:pt x="6994415" y="6046313"/>
                </a:cubicBezTo>
                <a:cubicBezTo>
                  <a:pt x="6991747" y="6045361"/>
                  <a:pt x="6988509" y="6045169"/>
                  <a:pt x="6985653" y="6044599"/>
                </a:cubicBezTo>
                <a:cubicBezTo>
                  <a:pt x="6969457" y="6041359"/>
                  <a:pt x="6953457" y="6038120"/>
                  <a:pt x="6937263" y="6035263"/>
                </a:cubicBezTo>
                <a:cubicBezTo>
                  <a:pt x="6928501" y="6033738"/>
                  <a:pt x="6919547" y="6033549"/>
                  <a:pt x="6910782" y="6032214"/>
                </a:cubicBezTo>
                <a:cubicBezTo>
                  <a:pt x="6876872" y="6026880"/>
                  <a:pt x="6839534" y="6035834"/>
                  <a:pt x="6810195" y="6012784"/>
                </a:cubicBezTo>
                <a:cubicBezTo>
                  <a:pt x="6791144" y="5997923"/>
                  <a:pt x="6772665" y="6001353"/>
                  <a:pt x="6752283" y="6003639"/>
                </a:cubicBezTo>
                <a:cubicBezTo>
                  <a:pt x="6736851" y="6005353"/>
                  <a:pt x="6721038" y="6004782"/>
                  <a:pt x="6705417" y="6004974"/>
                </a:cubicBezTo>
                <a:cubicBezTo>
                  <a:pt x="6677984" y="6005543"/>
                  <a:pt x="6650551" y="6005735"/>
                  <a:pt x="6623118" y="6006687"/>
                </a:cubicBezTo>
                <a:cubicBezTo>
                  <a:pt x="6614353" y="6007067"/>
                  <a:pt x="6605401" y="6011832"/>
                  <a:pt x="6596828" y="6011070"/>
                </a:cubicBezTo>
                <a:cubicBezTo>
                  <a:pt x="6557201" y="6007449"/>
                  <a:pt x="6517576" y="6001734"/>
                  <a:pt x="6477951" y="5998495"/>
                </a:cubicBezTo>
                <a:cubicBezTo>
                  <a:pt x="6455472" y="5996591"/>
                  <a:pt x="6432420" y="6000209"/>
                  <a:pt x="6410131" y="5997543"/>
                </a:cubicBezTo>
                <a:cubicBezTo>
                  <a:pt x="6384414" y="5994495"/>
                  <a:pt x="6359268" y="5986685"/>
                  <a:pt x="6333739" y="5981920"/>
                </a:cubicBezTo>
                <a:cubicBezTo>
                  <a:pt x="6326691" y="5980589"/>
                  <a:pt x="6318880" y="5982303"/>
                  <a:pt x="6311449" y="5982682"/>
                </a:cubicBezTo>
                <a:cubicBezTo>
                  <a:pt x="6303068" y="5983064"/>
                  <a:pt x="6294876" y="5983826"/>
                  <a:pt x="6286493" y="5984017"/>
                </a:cubicBezTo>
                <a:cubicBezTo>
                  <a:pt x="6260964" y="5984399"/>
                  <a:pt x="6235437" y="5983826"/>
                  <a:pt x="6209909" y="5985161"/>
                </a:cubicBezTo>
                <a:cubicBezTo>
                  <a:pt x="6194288" y="5985922"/>
                  <a:pt x="6177905" y="5993733"/>
                  <a:pt x="6163425" y="5990874"/>
                </a:cubicBezTo>
                <a:cubicBezTo>
                  <a:pt x="6133897" y="5985351"/>
                  <a:pt x="6104368" y="5997733"/>
                  <a:pt x="6074842" y="5987447"/>
                </a:cubicBezTo>
                <a:cubicBezTo>
                  <a:pt x="6065695" y="5984399"/>
                  <a:pt x="6053124" y="5992019"/>
                  <a:pt x="6042072" y="5992399"/>
                </a:cubicBezTo>
                <a:cubicBezTo>
                  <a:pt x="6014449" y="5993351"/>
                  <a:pt x="5986828" y="5993161"/>
                  <a:pt x="5959204" y="5992971"/>
                </a:cubicBezTo>
                <a:cubicBezTo>
                  <a:pt x="5934438" y="5992781"/>
                  <a:pt x="5908719" y="5995447"/>
                  <a:pt x="5884906" y="5990113"/>
                </a:cubicBezTo>
                <a:cubicBezTo>
                  <a:pt x="5859949" y="5984399"/>
                  <a:pt x="5837471" y="5985161"/>
                  <a:pt x="5813275" y="5991637"/>
                </a:cubicBezTo>
                <a:cubicBezTo>
                  <a:pt x="5796702" y="5996019"/>
                  <a:pt x="5779174" y="5996591"/>
                  <a:pt x="5762029" y="5997923"/>
                </a:cubicBezTo>
                <a:cubicBezTo>
                  <a:pt x="5743551" y="5999447"/>
                  <a:pt x="5723166" y="5995447"/>
                  <a:pt x="5706401" y="6001734"/>
                </a:cubicBezTo>
                <a:cubicBezTo>
                  <a:pt x="5656488" y="6020403"/>
                  <a:pt x="5605244" y="6024403"/>
                  <a:pt x="5553045" y="6024403"/>
                </a:cubicBezTo>
                <a:cubicBezTo>
                  <a:pt x="5543518" y="6024403"/>
                  <a:pt x="5533802" y="6021738"/>
                  <a:pt x="5524660" y="6018880"/>
                </a:cubicBezTo>
                <a:cubicBezTo>
                  <a:pt x="5471316" y="6001734"/>
                  <a:pt x="5417784" y="6003257"/>
                  <a:pt x="5363491" y="6013736"/>
                </a:cubicBezTo>
                <a:cubicBezTo>
                  <a:pt x="5352250" y="6016022"/>
                  <a:pt x="5339677" y="6016403"/>
                  <a:pt x="5328438" y="6014118"/>
                </a:cubicBezTo>
                <a:cubicBezTo>
                  <a:pt x="5296812" y="6007449"/>
                  <a:pt x="5266141" y="5996399"/>
                  <a:pt x="5234326" y="5991637"/>
                </a:cubicBezTo>
                <a:cubicBezTo>
                  <a:pt x="5181748" y="5983826"/>
                  <a:pt x="5136216" y="6010115"/>
                  <a:pt x="5089162" y="6027262"/>
                </a:cubicBezTo>
                <a:cubicBezTo>
                  <a:pt x="5044391" y="6043455"/>
                  <a:pt x="5006292" y="6080032"/>
                  <a:pt x="4953328" y="6071840"/>
                </a:cubicBezTo>
                <a:cubicBezTo>
                  <a:pt x="4947996" y="6071078"/>
                  <a:pt x="4942089" y="6076222"/>
                  <a:pt x="4936184" y="6077555"/>
                </a:cubicBezTo>
                <a:cubicBezTo>
                  <a:pt x="4919991" y="6081176"/>
                  <a:pt x="4903799" y="6085555"/>
                  <a:pt x="4887415" y="6087272"/>
                </a:cubicBezTo>
                <a:cubicBezTo>
                  <a:pt x="4867412" y="6089558"/>
                  <a:pt x="4847027" y="6088797"/>
                  <a:pt x="4827024" y="6090701"/>
                </a:cubicBezTo>
                <a:cubicBezTo>
                  <a:pt x="4814165" y="6091844"/>
                  <a:pt x="4801401" y="6093939"/>
                  <a:pt x="4788661" y="6095749"/>
                </a:cubicBezTo>
                <a:lnTo>
                  <a:pt x="4785776" y="6096000"/>
                </a:lnTo>
                <a:lnTo>
                  <a:pt x="4726469" y="6096000"/>
                </a:lnTo>
                <a:lnTo>
                  <a:pt x="4719697" y="6095130"/>
                </a:lnTo>
                <a:cubicBezTo>
                  <a:pt x="4709481" y="6092939"/>
                  <a:pt x="4699289" y="6090320"/>
                  <a:pt x="4689098" y="6088605"/>
                </a:cubicBezTo>
                <a:cubicBezTo>
                  <a:pt x="4660331" y="6083842"/>
                  <a:pt x="4628705" y="6085176"/>
                  <a:pt x="4603368" y="6072984"/>
                </a:cubicBezTo>
                <a:cubicBezTo>
                  <a:pt x="4576318" y="6060029"/>
                  <a:pt x="4550599" y="6054123"/>
                  <a:pt x="4522596" y="6058123"/>
                </a:cubicBezTo>
                <a:cubicBezTo>
                  <a:pt x="4513260" y="6059457"/>
                  <a:pt x="4501257" y="6067459"/>
                  <a:pt x="4497068" y="6075649"/>
                </a:cubicBezTo>
                <a:cubicBezTo>
                  <a:pt x="4487731" y="6093938"/>
                  <a:pt x="4474969" y="6097178"/>
                  <a:pt x="4457632" y="6090890"/>
                </a:cubicBezTo>
                <a:cubicBezTo>
                  <a:pt x="4442581" y="6085555"/>
                  <a:pt x="4424104" y="6082890"/>
                  <a:pt x="4413817" y="6072601"/>
                </a:cubicBezTo>
                <a:cubicBezTo>
                  <a:pt x="4384668" y="6043455"/>
                  <a:pt x="4347518" y="6042503"/>
                  <a:pt x="4311323" y="6034693"/>
                </a:cubicBezTo>
                <a:cubicBezTo>
                  <a:pt x="4289227" y="6029928"/>
                  <a:pt x="4268649" y="6029738"/>
                  <a:pt x="4246551" y="6032976"/>
                </a:cubicBezTo>
                <a:cubicBezTo>
                  <a:pt x="4198546" y="6040216"/>
                  <a:pt x="4151870" y="6029928"/>
                  <a:pt x="4105766" y="6016784"/>
                </a:cubicBezTo>
                <a:cubicBezTo>
                  <a:pt x="4075285" y="6008022"/>
                  <a:pt x="4044043" y="6002687"/>
                  <a:pt x="4013753" y="5993733"/>
                </a:cubicBezTo>
                <a:cubicBezTo>
                  <a:pt x="3991083" y="5986874"/>
                  <a:pt x="3968414" y="5978682"/>
                  <a:pt x="3947648" y="5967634"/>
                </a:cubicBezTo>
                <a:cubicBezTo>
                  <a:pt x="3917546" y="5951440"/>
                  <a:pt x="3891259" y="5927055"/>
                  <a:pt x="3852966" y="5933533"/>
                </a:cubicBezTo>
                <a:cubicBezTo>
                  <a:pt x="3819245" y="5939247"/>
                  <a:pt x="3788766" y="5927247"/>
                  <a:pt x="3757902" y="5915816"/>
                </a:cubicBezTo>
                <a:cubicBezTo>
                  <a:pt x="3735231" y="5907434"/>
                  <a:pt x="3712565" y="5898859"/>
                  <a:pt x="3689131" y="5893526"/>
                </a:cubicBezTo>
                <a:cubicBezTo>
                  <a:pt x="3661315" y="5887239"/>
                  <a:pt x="3629882" y="5889907"/>
                  <a:pt x="3605116" y="5878285"/>
                </a:cubicBezTo>
                <a:cubicBezTo>
                  <a:pt x="3579206" y="5866093"/>
                  <a:pt x="3557682" y="5874285"/>
                  <a:pt x="3534629" y="5877715"/>
                </a:cubicBezTo>
                <a:cubicBezTo>
                  <a:pt x="3497862" y="5883049"/>
                  <a:pt x="3461282" y="5892955"/>
                  <a:pt x="3424135" y="5880382"/>
                </a:cubicBezTo>
                <a:cubicBezTo>
                  <a:pt x="3378986" y="5865141"/>
                  <a:pt x="3334216" y="5848758"/>
                  <a:pt x="3288877" y="5834280"/>
                </a:cubicBezTo>
                <a:cubicBezTo>
                  <a:pt x="3271348" y="5828753"/>
                  <a:pt x="3252492" y="5826467"/>
                  <a:pt x="3234202" y="5823991"/>
                </a:cubicBezTo>
                <a:cubicBezTo>
                  <a:pt x="3216867" y="5821895"/>
                  <a:pt x="3196102" y="5827230"/>
                  <a:pt x="3182763" y="5819229"/>
                </a:cubicBezTo>
                <a:cubicBezTo>
                  <a:pt x="3148472" y="5798655"/>
                  <a:pt x="3113231" y="5788558"/>
                  <a:pt x="3073604" y="5788558"/>
                </a:cubicBezTo>
                <a:cubicBezTo>
                  <a:pt x="3058743" y="5788558"/>
                  <a:pt x="3044264" y="5779984"/>
                  <a:pt x="3029216" y="5778459"/>
                </a:cubicBezTo>
                <a:cubicBezTo>
                  <a:pt x="3008639" y="5776555"/>
                  <a:pt x="2985016" y="5771411"/>
                  <a:pt x="2967110" y="5778651"/>
                </a:cubicBezTo>
                <a:cubicBezTo>
                  <a:pt x="2925008" y="5795797"/>
                  <a:pt x="2890910" y="5781507"/>
                  <a:pt x="2854140" y="5764553"/>
                </a:cubicBezTo>
                <a:cubicBezTo>
                  <a:pt x="2817943" y="5747789"/>
                  <a:pt x="2779842" y="5734455"/>
                  <a:pt x="2741360" y="5723403"/>
                </a:cubicBezTo>
                <a:cubicBezTo>
                  <a:pt x="2726882" y="5719403"/>
                  <a:pt x="2709548" y="5726072"/>
                  <a:pt x="2693543" y="5727405"/>
                </a:cubicBezTo>
                <a:cubicBezTo>
                  <a:pt x="2687827" y="5727786"/>
                  <a:pt x="2681540" y="5728358"/>
                  <a:pt x="2676398" y="5726453"/>
                </a:cubicBezTo>
                <a:cubicBezTo>
                  <a:pt x="2626677" y="5708163"/>
                  <a:pt x="2576191" y="5694257"/>
                  <a:pt x="2522279" y="5703782"/>
                </a:cubicBezTo>
                <a:cubicBezTo>
                  <a:pt x="2517327" y="5704735"/>
                  <a:pt x="2511800" y="5702639"/>
                  <a:pt x="2506847" y="5701305"/>
                </a:cubicBezTo>
                <a:cubicBezTo>
                  <a:pt x="2482652" y="5694447"/>
                  <a:pt x="2459029" y="5683589"/>
                  <a:pt x="2434456" y="5681112"/>
                </a:cubicBezTo>
                <a:cubicBezTo>
                  <a:pt x="2373874" y="5675016"/>
                  <a:pt x="2312915" y="5672538"/>
                  <a:pt x="2251948" y="5668538"/>
                </a:cubicBezTo>
                <a:cubicBezTo>
                  <a:pt x="2248138" y="5668349"/>
                  <a:pt x="2244137" y="5668349"/>
                  <a:pt x="2240710" y="5667014"/>
                </a:cubicBezTo>
                <a:cubicBezTo>
                  <a:pt x="2218229" y="5658822"/>
                  <a:pt x="2198608" y="5661490"/>
                  <a:pt x="2179556" y="5677111"/>
                </a:cubicBezTo>
                <a:cubicBezTo>
                  <a:pt x="2171173" y="5683969"/>
                  <a:pt x="2159743" y="5687589"/>
                  <a:pt x="2149267" y="5691399"/>
                </a:cubicBezTo>
                <a:cubicBezTo>
                  <a:pt x="2133834" y="5697115"/>
                  <a:pt x="2118023" y="5702639"/>
                  <a:pt x="2102021" y="5706259"/>
                </a:cubicBezTo>
                <a:cubicBezTo>
                  <a:pt x="2086208" y="5709688"/>
                  <a:pt x="2069254" y="5714449"/>
                  <a:pt x="2054013" y="5711784"/>
                </a:cubicBezTo>
                <a:cubicBezTo>
                  <a:pt x="2026581" y="5707022"/>
                  <a:pt x="2000479" y="5696353"/>
                  <a:pt x="1973429" y="5689303"/>
                </a:cubicBezTo>
                <a:cubicBezTo>
                  <a:pt x="1964094" y="5686826"/>
                  <a:pt x="1953806" y="5687209"/>
                  <a:pt x="1944092" y="5687017"/>
                </a:cubicBezTo>
                <a:cubicBezTo>
                  <a:pt x="1921800" y="5686447"/>
                  <a:pt x="1898940" y="5691971"/>
                  <a:pt x="1878748" y="5676159"/>
                </a:cubicBezTo>
                <a:cubicBezTo>
                  <a:pt x="1860079" y="5661299"/>
                  <a:pt x="1841216" y="5665680"/>
                  <a:pt x="1821596" y="5676920"/>
                </a:cubicBezTo>
                <a:cubicBezTo>
                  <a:pt x="1807497" y="5684922"/>
                  <a:pt x="1791496" y="5691209"/>
                  <a:pt x="1775684" y="5694257"/>
                </a:cubicBezTo>
                <a:cubicBezTo>
                  <a:pt x="1753965" y="5698447"/>
                  <a:pt x="1732439" y="5700163"/>
                  <a:pt x="1709006" y="5697685"/>
                </a:cubicBezTo>
                <a:cubicBezTo>
                  <a:pt x="1692431" y="5695971"/>
                  <a:pt x="1678904" y="5695209"/>
                  <a:pt x="1665950" y="5685113"/>
                </a:cubicBezTo>
                <a:cubicBezTo>
                  <a:pt x="1663856" y="5683589"/>
                  <a:pt x="1660046" y="5683207"/>
                  <a:pt x="1657188" y="5683399"/>
                </a:cubicBezTo>
                <a:cubicBezTo>
                  <a:pt x="1619658" y="5686637"/>
                  <a:pt x="1582510" y="5684922"/>
                  <a:pt x="1544598" y="5682634"/>
                </a:cubicBezTo>
                <a:cubicBezTo>
                  <a:pt x="1496403" y="5679589"/>
                  <a:pt x="1445725" y="5688541"/>
                  <a:pt x="1404006" y="5720546"/>
                </a:cubicBezTo>
                <a:cubicBezTo>
                  <a:pt x="1397909" y="5725310"/>
                  <a:pt x="1388765" y="5727405"/>
                  <a:pt x="1380762" y="5728549"/>
                </a:cubicBezTo>
                <a:cubicBezTo>
                  <a:pt x="1343044" y="5733501"/>
                  <a:pt x="1305132" y="5736930"/>
                  <a:pt x="1267411" y="5742455"/>
                </a:cubicBezTo>
                <a:cubicBezTo>
                  <a:pt x="1246837" y="5745503"/>
                  <a:pt x="1225310" y="5748170"/>
                  <a:pt x="1206641" y="5756553"/>
                </a:cubicBezTo>
                <a:cubicBezTo>
                  <a:pt x="1188354" y="5764743"/>
                  <a:pt x="1173681" y="5774459"/>
                  <a:pt x="1162823" y="5757315"/>
                </a:cubicBezTo>
                <a:cubicBezTo>
                  <a:pt x="1143394" y="5766459"/>
                  <a:pt x="1126437" y="5774080"/>
                  <a:pt x="1109865" y="5782270"/>
                </a:cubicBezTo>
                <a:cubicBezTo>
                  <a:pt x="1103767" y="5785318"/>
                  <a:pt x="1098623" y="5790272"/>
                  <a:pt x="1092527" y="5793130"/>
                </a:cubicBezTo>
                <a:cubicBezTo>
                  <a:pt x="1086048" y="5796178"/>
                  <a:pt x="1078810" y="5798082"/>
                  <a:pt x="1071762" y="5799607"/>
                </a:cubicBezTo>
                <a:cubicBezTo>
                  <a:pt x="1040327" y="5806465"/>
                  <a:pt x="1008894" y="5812751"/>
                  <a:pt x="977653" y="5820182"/>
                </a:cubicBezTo>
                <a:cubicBezTo>
                  <a:pt x="971554" y="5821705"/>
                  <a:pt x="966411" y="5827801"/>
                  <a:pt x="960887" y="5831801"/>
                </a:cubicBezTo>
                <a:cubicBezTo>
                  <a:pt x="957266" y="5834470"/>
                  <a:pt x="953648" y="5838470"/>
                  <a:pt x="949646" y="5839042"/>
                </a:cubicBezTo>
                <a:cubicBezTo>
                  <a:pt x="919165" y="5843614"/>
                  <a:pt x="888877" y="5848949"/>
                  <a:pt x="858205" y="5851234"/>
                </a:cubicBezTo>
                <a:cubicBezTo>
                  <a:pt x="832486" y="5853138"/>
                  <a:pt x="807719" y="5852568"/>
                  <a:pt x="801053" y="5885715"/>
                </a:cubicBezTo>
                <a:cubicBezTo>
                  <a:pt x="799909" y="5891432"/>
                  <a:pt x="791717" y="5897528"/>
                  <a:pt x="785432" y="5900384"/>
                </a:cubicBezTo>
                <a:cubicBezTo>
                  <a:pt x="767524" y="5908576"/>
                  <a:pt x="748471" y="5914101"/>
                  <a:pt x="730754" y="5922482"/>
                </a:cubicBezTo>
                <a:cubicBezTo>
                  <a:pt x="672650" y="5950488"/>
                  <a:pt x="611880" y="5968205"/>
                  <a:pt x="546917" y="5964966"/>
                </a:cubicBezTo>
                <a:cubicBezTo>
                  <a:pt x="526724" y="5964014"/>
                  <a:pt x="507102" y="5953726"/>
                  <a:pt x="494337" y="5949915"/>
                </a:cubicBezTo>
                <a:cubicBezTo>
                  <a:pt x="457572" y="5964966"/>
                  <a:pt x="426709" y="5979445"/>
                  <a:pt x="394511" y="5990303"/>
                </a:cubicBezTo>
                <a:cubicBezTo>
                  <a:pt x="366127" y="6000019"/>
                  <a:pt x="336408" y="6006115"/>
                  <a:pt x="307259" y="6013163"/>
                </a:cubicBezTo>
                <a:cubicBezTo>
                  <a:pt x="296590" y="6015832"/>
                  <a:pt x="285732" y="6017355"/>
                  <a:pt x="274873" y="6018690"/>
                </a:cubicBezTo>
                <a:cubicBezTo>
                  <a:pt x="240965" y="6022880"/>
                  <a:pt x="205529" y="6012784"/>
                  <a:pt x="172384" y="6028786"/>
                </a:cubicBezTo>
                <a:cubicBezTo>
                  <a:pt x="155046" y="6037168"/>
                  <a:pt x="137898" y="6047265"/>
                  <a:pt x="119613" y="6051647"/>
                </a:cubicBezTo>
                <a:cubicBezTo>
                  <a:pt x="99990" y="6056409"/>
                  <a:pt x="80794" y="6063839"/>
                  <a:pt x="61197" y="6069150"/>
                </a:cubicBezTo>
                <a:lnTo>
                  <a:pt x="544" y="6073921"/>
                </a:lnTo>
                <a:lnTo>
                  <a:pt x="544" y="5946682"/>
                </a:lnTo>
                <a:lnTo>
                  <a:pt x="0" y="5946682"/>
                </a:lnTo>
                <a:lnTo>
                  <a:pt x="0" y="1335314"/>
                </a:lnTo>
                <a:lnTo>
                  <a:pt x="0" y="873938"/>
                </a:lnTo>
                <a:close/>
              </a:path>
            </a:pathLst>
          </a:custGeom>
          <a:effectLst>
            <a:outerShdw blurRad="381000" dist="152400" dir="5400000" algn="t" rotWithShape="0">
              <a:prstClr val="black">
                <a:alpha val="2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9D5BC3-1C13-425A-9933-9C8F808839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669512"/>
            <a:ext cx="8934450" cy="2576512"/>
          </a:xfrm>
        </p:spPr>
        <p:txBody>
          <a:bodyPr vert="horz">
            <a:normAutofit fontScale="90000"/>
          </a:bodyPr>
          <a:lstStyle/>
          <a:p>
            <a:pPr algn="l"/>
            <a:r>
              <a:rPr lang="en-US" sz="8000" dirty="0">
                <a:solidFill>
                  <a:srgbClr val="FFFFFF"/>
                </a:solidFill>
              </a:rPr>
              <a:t>Big Mountain Resort Ski Facil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A5D75A-6B4B-4888-AAD5-9B35734530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6145985"/>
            <a:ext cx="8382000" cy="1338471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FFFFFF"/>
                </a:solidFill>
              </a:rPr>
              <a:t>February 22, 2021</a:t>
            </a:r>
          </a:p>
        </p:txBody>
      </p:sp>
    </p:spTree>
    <p:extLst>
      <p:ext uri="{BB962C8B-B14F-4D97-AF65-F5344CB8AC3E}">
        <p14:creationId xmlns:p14="http://schemas.microsoft.com/office/powerpoint/2010/main" val="994955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9FD040-66A3-4695-923E-DF726AD958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014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165992-3D32-4852-B837-69CDC7369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3F3B48-EEAA-4F3B-A390-F9DE2895F9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g Mountain Resort is experiencing an operating cost increase of $1.54MM after the addition of a new ski lift</a:t>
            </a:r>
          </a:p>
          <a:p>
            <a:r>
              <a:rPr lang="en-US" dirty="0"/>
              <a:t>There are concerns about current pricing and facility investment strategies</a:t>
            </a:r>
          </a:p>
          <a:p>
            <a:r>
              <a:rPr lang="en-US" dirty="0"/>
              <a:t>Potential scenarios are being considered for either cutting costs or increasing revenue</a:t>
            </a:r>
          </a:p>
          <a:p>
            <a:pPr lvl="1"/>
            <a:r>
              <a:rPr lang="en-US" dirty="0"/>
              <a:t>Permanently close up to 10 of the least used runs</a:t>
            </a:r>
          </a:p>
          <a:p>
            <a:pPr lvl="1"/>
            <a:r>
              <a:rPr lang="en-US" dirty="0"/>
              <a:t>Increase the vertical drop, add a run, install additional lift</a:t>
            </a:r>
          </a:p>
          <a:p>
            <a:pPr lvl="1"/>
            <a:r>
              <a:rPr lang="en-US" dirty="0"/>
              <a:t>Add 2 acres of snow making cover, plus above bullet</a:t>
            </a:r>
          </a:p>
          <a:p>
            <a:pPr lvl="1"/>
            <a:r>
              <a:rPr lang="en-US" dirty="0"/>
              <a:t>Increase the longest run and increase snow making acreage</a:t>
            </a:r>
          </a:p>
          <a:p>
            <a:r>
              <a:rPr lang="en-US" dirty="0"/>
              <a:t>Revenue increases will also be targeted through the evaluation of potential lift ticket price increases with current resort facilities</a:t>
            </a:r>
          </a:p>
        </p:txBody>
      </p:sp>
    </p:spTree>
    <p:extLst>
      <p:ext uri="{BB962C8B-B14F-4D97-AF65-F5344CB8AC3E}">
        <p14:creationId xmlns:p14="http://schemas.microsoft.com/office/powerpoint/2010/main" val="3638892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11DB8C-101B-416F-9E6B-B3386B27DC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11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2FE30B-6AA8-4917-AE6F-E283FEA20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commendation &amp; Key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A39C3-8709-432F-B9FF-1D84FC60AA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ig Mountain should increase lift ticket prices from $81 to $85 with the current ski facilities as they are today</a:t>
            </a:r>
          </a:p>
          <a:p>
            <a:pPr lvl="1"/>
            <a:r>
              <a:rPr lang="en-US" dirty="0"/>
              <a:t>Big Mountain Resort modelled price is $94.22, actual price is $81.00</a:t>
            </a:r>
          </a:p>
          <a:p>
            <a:pPr lvl="1"/>
            <a:r>
              <a:rPr lang="en-US" dirty="0"/>
              <a:t>Even with the expected mean absolute error of $10.39, this suggests there is room for an increase</a:t>
            </a:r>
          </a:p>
          <a:p>
            <a:r>
              <a:rPr lang="en-US" dirty="0"/>
              <a:t>Additional facility improvements should be considered for future opportunities to increase lift ticket price due to improved value</a:t>
            </a:r>
          </a:p>
          <a:p>
            <a:r>
              <a:rPr lang="en-US" dirty="0"/>
              <a:t>Modeling was completed without state level considerations effectively treating the competitive market as the full U.S. ski market</a:t>
            </a:r>
          </a:p>
          <a:p>
            <a:r>
              <a:rPr lang="en-US" dirty="0"/>
              <a:t>Final recommendation does consider lift ticket pricing position in Montana, along with tourism challenges, and results in a less aggressive price point than suggested by modeling </a:t>
            </a:r>
          </a:p>
          <a:p>
            <a:pPr marL="27432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431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0E775D-F792-4CEA-982C-03E7BF3CBD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77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0E775D-F792-4CEA-982C-03E7BF3CBD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82E787-1124-428B-B5A0-4EDE32793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</p:spPr>
        <p:txBody>
          <a:bodyPr vert="horz">
            <a:normAutofit/>
          </a:bodyPr>
          <a:lstStyle/>
          <a:p>
            <a:r>
              <a:rPr lang="en-US" dirty="0"/>
              <a:t>Recommendation &amp; Key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4FB690-6AA3-4B70-BC1B-BDD02E08C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933575"/>
            <a:ext cx="4401509" cy="4246562"/>
          </a:xfrm>
        </p:spPr>
        <p:txBody>
          <a:bodyPr>
            <a:normAutofit/>
          </a:bodyPr>
          <a:lstStyle/>
          <a:p>
            <a:r>
              <a:rPr lang="en-US" dirty="0"/>
              <a:t>Closing runs may help with operational costs but it decreases ticket value</a:t>
            </a:r>
          </a:p>
          <a:p>
            <a:r>
              <a:rPr lang="en-US" dirty="0"/>
              <a:t>Adding a run, increasing vertical drop, and adding a lift increases ticket value by $8.46</a:t>
            </a:r>
          </a:p>
          <a:p>
            <a:r>
              <a:rPr lang="en-US" dirty="0"/>
              <a:t>Adding 2 acres of snow making increases ticket value by $1.29</a:t>
            </a:r>
          </a:p>
          <a:p>
            <a:r>
              <a:rPr lang="en-US" dirty="0"/>
              <a:t>Increasing the longest run by 0.2 miles and ensuring snow making coverage has no effect on the value of a lift ticket</a:t>
            </a:r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A2E17103-6286-4D2F-A180-1DEF6059B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381" y="2133600"/>
            <a:ext cx="4854832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8857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1409986-60D8-4C48-ADDC-3E524FF9D1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97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2D2345-98E4-4E0B-B08C-ED2314BE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8675" y="640080"/>
            <a:ext cx="3075836" cy="1325562"/>
          </a:xfrm>
        </p:spPr>
        <p:txBody>
          <a:bodyPr vert="horz">
            <a:normAutofit fontScale="90000"/>
          </a:bodyPr>
          <a:lstStyle/>
          <a:p>
            <a:r>
              <a:rPr lang="en-US" sz="3200" dirty="0"/>
              <a:t>Principle Component Analysis</a:t>
            </a:r>
          </a:p>
        </p:txBody>
      </p:sp>
      <p:sp>
        <p:nvSpPr>
          <p:cNvPr id="1030" name="Content Placeholder 1029">
            <a:extLst>
              <a:ext uri="{FF2B5EF4-FFF2-40B4-BE49-F238E27FC236}">
                <a16:creationId xmlns:a16="http://schemas.microsoft.com/office/drawing/2014/main" id="{1378B94D-A23E-46F5-9052-57C39E0BCC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8675" y="2287375"/>
            <a:ext cx="3075836" cy="3892762"/>
          </a:xfrm>
        </p:spPr>
        <p:txBody>
          <a:bodyPr>
            <a:normAutofit/>
          </a:bodyPr>
          <a:lstStyle/>
          <a:p>
            <a:r>
              <a:rPr lang="en-US" sz="1600" dirty="0"/>
              <a:t>7 numerical state features were ranked, and the top 2 principal components are displayed here</a:t>
            </a:r>
          </a:p>
          <a:p>
            <a:r>
              <a:rPr lang="en-US" sz="1600" dirty="0"/>
              <a:t>With over 75% of the variance explained with PC1 and PC2, there is no obvious pattern between ticket price and components</a:t>
            </a:r>
          </a:p>
          <a:p>
            <a:r>
              <a:rPr lang="en-US" sz="1600" dirty="0"/>
              <a:t>Most state data was removed prior to modeling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054FDB9-79DD-4D5C-9FD4-A6648C9974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68" y="552450"/>
            <a:ext cx="7000875" cy="575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1093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CCB9BA-A32A-4BA6-8FB2-D1B460A313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14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51D0C7-6280-4A2D-8C1C-A2DB23FC7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ain/Test Spl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B09AF8-95D8-4030-B44E-29E6C158D6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ski resort data excluding Big Mountain as our features and assigned lift ticket prices to our target label</a:t>
            </a:r>
          </a:p>
          <a:p>
            <a:r>
              <a:rPr lang="en-US" dirty="0"/>
              <a:t>Proceeded to impute missing values, scale the data, make predictions and evaluate performance of each model</a:t>
            </a:r>
          </a:p>
          <a:p>
            <a:r>
              <a:rPr lang="en-US" dirty="0"/>
              <a:t>2 models and the average ticket price were evaluated to determine best use for predicting Big Mountain’s lift ticket price</a:t>
            </a:r>
          </a:p>
          <a:p>
            <a:endParaRPr lang="en-US" dirty="0"/>
          </a:p>
          <a:p>
            <a:pPr lvl="1"/>
            <a:r>
              <a:rPr lang="en-US" dirty="0"/>
              <a:t>Raw average of $64, used as a baseline performance with no model,  resulted in MAE of $19.14</a:t>
            </a:r>
          </a:p>
          <a:p>
            <a:pPr marL="274320" lvl="1" indent="0">
              <a:buNone/>
            </a:pPr>
            <a:endParaRPr lang="en-US" dirty="0"/>
          </a:p>
          <a:p>
            <a:pPr lvl="1"/>
            <a:r>
              <a:rPr lang="en-US" dirty="0"/>
              <a:t>Linear regression model resulted in MAE of $11.79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Random forest regression model resulted in MAE of $9.50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882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0E775D-F792-4CEA-982C-03E7BF3CBD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95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82E787-1124-428B-B5A0-4EDE32793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</p:spPr>
        <p:txBody>
          <a:bodyPr vert="horz">
            <a:normAutofit/>
          </a:bodyPr>
          <a:lstStyle/>
          <a:p>
            <a:r>
              <a:rPr lang="en-US" dirty="0"/>
              <a:t>Cross-Validation with Linear Mode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4FB690-6AA3-4B70-BC1B-BDD02E08C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933575"/>
            <a:ext cx="4401509" cy="4246562"/>
          </a:xfrm>
        </p:spPr>
        <p:txBody>
          <a:bodyPr>
            <a:normAutofit/>
          </a:bodyPr>
          <a:lstStyle/>
          <a:p>
            <a:r>
              <a:rPr lang="en-US" dirty="0"/>
              <a:t>Cross-validation technique was implemented to address concerns of overfitting with arbitrary test set</a:t>
            </a:r>
          </a:p>
          <a:p>
            <a:r>
              <a:rPr lang="en-US" dirty="0"/>
              <a:t>GridSearchCV identified best value for parameter k to be 8</a:t>
            </a:r>
          </a:p>
          <a:p>
            <a:r>
              <a:rPr lang="en-US" dirty="0"/>
              <a:t>Identified largest positive features</a:t>
            </a:r>
          </a:p>
          <a:p>
            <a:pPr lvl="1"/>
            <a:r>
              <a:rPr lang="en-US" dirty="0"/>
              <a:t>Vertical drop</a:t>
            </a:r>
          </a:p>
          <a:p>
            <a:pPr lvl="1"/>
            <a:r>
              <a:rPr lang="en-US" dirty="0"/>
              <a:t>Snow making</a:t>
            </a:r>
          </a:p>
          <a:p>
            <a:pPr lvl="1"/>
            <a:r>
              <a:rPr lang="en-US" dirty="0"/>
              <a:t>Total chairs</a:t>
            </a:r>
          </a:p>
          <a:p>
            <a:pPr lvl="1"/>
            <a:r>
              <a:rPr lang="en-US" dirty="0"/>
              <a:t>Fast quads</a:t>
            </a:r>
          </a:p>
          <a:p>
            <a:r>
              <a:rPr lang="en-US" b="1" dirty="0"/>
              <a:t>Final MAE of $11.79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E16EFA2-4161-4F0A-B2AC-BB781D342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95999" y="2449535"/>
            <a:ext cx="4807287" cy="2607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270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0E775D-F792-4CEA-982C-03E7BF3CBD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26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0E775D-F792-4CEA-982C-03E7BF3CBD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82E787-1124-428B-B5A0-4EDE32793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</p:spPr>
        <p:txBody>
          <a:bodyPr vert="horz">
            <a:normAutofit/>
          </a:bodyPr>
          <a:lstStyle/>
          <a:p>
            <a:r>
              <a:rPr lang="en-US" dirty="0"/>
              <a:t>Random Forest Regre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4FB690-6AA3-4B70-BC1B-BDD02E08C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1872" y="1933575"/>
            <a:ext cx="4401509" cy="4246562"/>
          </a:xfrm>
        </p:spPr>
        <p:txBody>
          <a:bodyPr>
            <a:normAutofit/>
          </a:bodyPr>
          <a:lstStyle/>
          <a:p>
            <a:r>
              <a:rPr lang="en-US" dirty="0"/>
              <a:t>Model performance was assessed using cross-validation</a:t>
            </a:r>
          </a:p>
          <a:p>
            <a:r>
              <a:rPr lang="en-US" dirty="0"/>
              <a:t>Imputing missing values with median of respective category was helpful, scaling the data was not</a:t>
            </a:r>
          </a:p>
          <a:p>
            <a:r>
              <a:rPr lang="en-US" dirty="0"/>
              <a:t>Identified feature importance with resulting top features aligned with our linear model results</a:t>
            </a:r>
          </a:p>
          <a:p>
            <a:r>
              <a:rPr lang="en-US" b="1" dirty="0"/>
              <a:t>Final MAE of $9.50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4AEBC12-93C4-4C46-B47B-83ADF6E75EA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8305" y="2001520"/>
            <a:ext cx="5406207" cy="43513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0599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5795C7-FBEC-462B-B1C4-2FECD9A879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8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1F7409-9610-498B-A64C-A5EA66A91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1F8CBB-19B2-4F57-9F7A-3CA3E8501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Big Mountain Resort is experiencing an operating cost increase of $1.54MM after the addition of a new ski lift</a:t>
            </a:r>
          </a:p>
          <a:p>
            <a:endParaRPr lang="en-US" dirty="0"/>
          </a:p>
          <a:p>
            <a:r>
              <a:rPr lang="en-US" dirty="0"/>
              <a:t>The company can benefit from a lift ticket price increase of $4 with potential revenue growth of up to $7,000,000 with current facilities </a:t>
            </a:r>
          </a:p>
          <a:p>
            <a:endParaRPr lang="en-US" dirty="0"/>
          </a:p>
          <a:p>
            <a:r>
              <a:rPr lang="en-US" dirty="0"/>
              <a:t>Adding a run, increasing vertical drop, and adding a lift increases ticket value by $8.46 and should be considered for future opportunities to increase lift ticket price due to improved valu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470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w">
  <a:themeElements>
    <a:clrScheme name="View">
      <a:dk1>
        <a:srgbClr val="000000"/>
      </a:dk1>
      <a:lt1>
        <a:srgbClr val="FFFFFF"/>
      </a:lt1>
      <a:dk2>
        <a:srgbClr val="46464A"/>
      </a:dk2>
      <a:lt2>
        <a:srgbClr val="D6D3CC"/>
      </a:lt2>
      <a:accent1>
        <a:srgbClr val="6F6F74"/>
      </a:accent1>
      <a:accent2>
        <a:srgbClr val="92A9B9"/>
      </a:accent2>
      <a:accent3>
        <a:srgbClr val="A7B789"/>
      </a:accent3>
      <a:accent4>
        <a:srgbClr val="B9A489"/>
      </a:accent4>
      <a:accent5>
        <a:srgbClr val="8D6374"/>
      </a:accent5>
      <a:accent6>
        <a:srgbClr val="9B7362"/>
      </a:accent6>
      <a:hlink>
        <a:srgbClr val="67AABF"/>
      </a:hlink>
      <a:folHlink>
        <a:srgbClr val="ABAFA5"/>
      </a:folHlink>
    </a:clrScheme>
    <a:fontScheme name="View">
      <a:maj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iew">
      <a:fillStyleLst>
        <a:solidFill>
          <a:schemeClr val="phClr"/>
        </a:solidFill>
        <a:solidFill>
          <a:schemeClr val="phClr">
            <a:tint val="60000"/>
            <a:satMod val="120000"/>
          </a:schemeClr>
        </a:solidFill>
        <a:solidFill>
          <a:schemeClr val="phClr">
            <a:shade val="75000"/>
            <a:satMod val="16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3970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95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240" dir="5400000" algn="tl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9525" prstMaterial="flat">
            <a:bevelT w="0" h="0" prst="coolSlant"/>
            <a:contourClr>
              <a:schemeClr val="phClr">
                <a:shade val="35000"/>
                <a:satMod val="130000"/>
              </a:schemeClr>
            </a:contourClr>
          </a:sp3d>
        </a:effectStyle>
        <a:effectStyle>
          <a:effectLst>
            <a:outerShdw blurRad="76200" dist="25400" dir="5400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9050" prstMaterial="flat">
            <a:bevelT w="0" h="0" prst="coolSlant"/>
            <a:contourClr>
              <a:schemeClr val="phClr">
                <a:shade val="25000"/>
                <a:satMod val="14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4000"/>
                <a:shade val="98000"/>
                <a:satMod val="130000"/>
                <a:lumMod val="102000"/>
              </a:schemeClr>
            </a:gs>
            <a:gs pos="100000">
              <a:schemeClr val="phClr">
                <a:tint val="98000"/>
                <a:shade val="78000"/>
                <a:satMod val="14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w" id="{BA0EB5A6-F2D4-4F82-977B-64ADEE4A2A69}" vid="{3969A8A2-35DB-4E3B-8885-16FD2056867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515[[fn=View]]</Template>
  <TotalTime>901</TotalTime>
  <Words>626</Words>
  <Application>Microsoft Office PowerPoint</Application>
  <PresentationFormat>Widescreen</PresentationFormat>
  <Paragraphs>5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entury Schoolbook</vt:lpstr>
      <vt:lpstr>Wingdings 2</vt:lpstr>
      <vt:lpstr>View</vt:lpstr>
      <vt:lpstr>think-cell Slide</vt:lpstr>
      <vt:lpstr>Big Mountain Resort Ski Facilities</vt:lpstr>
      <vt:lpstr>Problem Statement</vt:lpstr>
      <vt:lpstr>Recommendation &amp; Key Findings</vt:lpstr>
      <vt:lpstr>Recommendation &amp; Key Findings</vt:lpstr>
      <vt:lpstr>Principle Component Analysis</vt:lpstr>
      <vt:lpstr>Train/Test Split</vt:lpstr>
      <vt:lpstr>Cross-Validation with Linear Model </vt:lpstr>
      <vt:lpstr>Random Forest Regression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ie Ligon</dc:creator>
  <cp:lastModifiedBy>Louie Ligon</cp:lastModifiedBy>
  <cp:revision>25</cp:revision>
  <dcterms:created xsi:type="dcterms:W3CDTF">2021-02-23T03:19:51Z</dcterms:created>
  <dcterms:modified xsi:type="dcterms:W3CDTF">2021-02-23T18:21:26Z</dcterms:modified>
</cp:coreProperties>
</file>